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11BBD1-1AC6-46C3-A0BA-FB759B230466}" v="3" dt="2026-02-14T19:42:31.5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94660"/>
  </p:normalViewPr>
  <p:slideViewPr>
    <p:cSldViewPr snapToGrid="0">
      <p:cViewPr>
        <p:scale>
          <a:sx n="75" d="100"/>
          <a:sy n="75" d="100"/>
        </p:scale>
        <p:origin x="1812" y="6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Vonwil" userId="0ad870db-0542-47a7-a857-35483da1cf18" providerId="ADAL" clId="{36C3E75C-CF77-4501-9C9B-93F7F9890DFD}"/>
    <pc:docChg chg="undo custSel addSld delSld modSld">
      <pc:chgData name="Thomas Vonwil" userId="0ad870db-0542-47a7-a857-35483da1cf18" providerId="ADAL" clId="{36C3E75C-CF77-4501-9C9B-93F7F9890DFD}" dt="2026-02-14T19:43:18.024" v="48" actId="34135"/>
      <pc:docMkLst>
        <pc:docMk/>
      </pc:docMkLst>
      <pc:sldChg chg="delSp del mod">
        <pc:chgData name="Thomas Vonwil" userId="0ad870db-0542-47a7-a857-35483da1cf18" providerId="ADAL" clId="{36C3E75C-CF77-4501-9C9B-93F7F9890DFD}" dt="2026-02-14T19:41:39.793" v="11" actId="47"/>
        <pc:sldMkLst>
          <pc:docMk/>
          <pc:sldMk cId="2132877966" sldId="256"/>
        </pc:sldMkLst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46" creationId="{0877309F-7DCC-0D60-B407-1F648B4C9035}"/>
          </ac:spMkLst>
        </pc:spChg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48" creationId="{751AC6DB-C835-99AC-9ED3-35B9F1213DA3}"/>
          </ac:spMkLst>
        </pc:spChg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49" creationId="{51DC1612-186C-B337-9D9E-66A87AF1445E}"/>
          </ac:spMkLst>
        </pc:spChg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65" creationId="{F7D19DF5-7FBE-8CA1-C138-36DA87601423}"/>
          </ac:spMkLst>
        </pc:spChg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76" creationId="{F10579A1-B379-29A2-AB25-B37079F73265}"/>
          </ac:spMkLst>
        </pc:spChg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81" creationId="{CC85F7E4-24F5-5587-3F3E-095480D25B54}"/>
          </ac:spMkLst>
        </pc:spChg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92" creationId="{F6AEA82B-3320-DDE9-4915-A992CC0E3059}"/>
          </ac:spMkLst>
        </pc:spChg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97" creationId="{C50B9DBC-96FF-D311-32F8-787671F87E47}"/>
          </ac:spMkLst>
        </pc:spChg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99" creationId="{23C66ED7-C626-9C81-9302-EA7AF4B87FF6}"/>
          </ac:spMkLst>
        </pc:spChg>
        <pc:spChg chg="del">
          <ac:chgData name="Thomas Vonwil" userId="0ad870db-0542-47a7-a857-35483da1cf18" providerId="ADAL" clId="{36C3E75C-CF77-4501-9C9B-93F7F9890DFD}" dt="2026-02-14T19:41:07.256" v="0" actId="478"/>
          <ac:spMkLst>
            <pc:docMk/>
            <pc:sldMk cId="2132877966" sldId="256"/>
            <ac:spMk id="110" creationId="{35F5F962-A092-811C-8DB3-DE1C74BC97AA}"/>
          </ac:spMkLst>
        </pc:spChg>
      </pc:sldChg>
      <pc:sldChg chg="addSp delSp modSp add mod modClrScheme chgLayout">
        <pc:chgData name="Thomas Vonwil" userId="0ad870db-0542-47a7-a857-35483da1cf18" providerId="ADAL" clId="{36C3E75C-CF77-4501-9C9B-93F7F9890DFD}" dt="2026-02-14T19:43:18.024" v="48" actId="34135"/>
        <pc:sldMkLst>
          <pc:docMk/>
          <pc:sldMk cId="141999697" sldId="260"/>
        </pc:sldMkLst>
        <pc:spChg chg="add del mod ord">
          <ac:chgData name="Thomas Vonwil" userId="0ad870db-0542-47a7-a857-35483da1cf18" providerId="ADAL" clId="{36C3E75C-CF77-4501-9C9B-93F7F9890DFD}" dt="2026-02-14T19:41:28.313" v="7" actId="478"/>
          <ac:spMkLst>
            <pc:docMk/>
            <pc:sldMk cId="141999697" sldId="260"/>
            <ac:spMk id="2" creationId="{D3A850F3-523A-F178-E55F-44F2B497F1E5}"/>
          </ac:spMkLst>
        </pc:spChg>
        <pc:spChg chg="add del mod ord">
          <ac:chgData name="Thomas Vonwil" userId="0ad870db-0542-47a7-a857-35483da1cf18" providerId="ADAL" clId="{36C3E75C-CF77-4501-9C9B-93F7F9890DFD}" dt="2026-02-14T19:41:29.628" v="10" actId="478"/>
          <ac:spMkLst>
            <pc:docMk/>
            <pc:sldMk cId="141999697" sldId="260"/>
            <ac:spMk id="3" creationId="{E1DB3BA6-80CD-2D01-EC4B-86D27D414AF0}"/>
          </ac:spMkLst>
        </pc:spChg>
        <pc:spChg chg="del mod ord">
          <ac:chgData name="Thomas Vonwil" userId="0ad870db-0542-47a7-a857-35483da1cf18" providerId="ADAL" clId="{36C3E75C-CF77-4501-9C9B-93F7F9890DFD}" dt="2026-02-14T19:41:42.247" v="12" actId="478"/>
          <ac:spMkLst>
            <pc:docMk/>
            <pc:sldMk cId="141999697" sldId="260"/>
            <ac:spMk id="5" creationId="{9A8625BE-E7E9-E61C-7A33-E4F4E363ADAE}"/>
          </ac:spMkLst>
        </pc:spChg>
        <pc:spChg chg="add mod">
          <ac:chgData name="Thomas Vonwil" userId="0ad870db-0542-47a7-a857-35483da1cf18" providerId="ADAL" clId="{36C3E75C-CF77-4501-9C9B-93F7F9890DFD}" dt="2026-02-14T19:43:04.338" v="47" actId="1035"/>
          <ac:spMkLst>
            <pc:docMk/>
            <pc:sldMk cId="141999697" sldId="260"/>
            <ac:spMk id="6" creationId="{DC88586D-98D7-3843-B728-8FF3C0905CD7}"/>
          </ac:spMkLst>
        </pc:spChg>
        <pc:spChg chg="add mod">
          <ac:chgData name="Thomas Vonwil" userId="0ad870db-0542-47a7-a857-35483da1cf18" providerId="ADAL" clId="{36C3E75C-CF77-4501-9C9B-93F7F9890DFD}" dt="2026-02-14T19:43:04.338" v="47" actId="1035"/>
          <ac:spMkLst>
            <pc:docMk/>
            <pc:sldMk cId="141999697" sldId="260"/>
            <ac:spMk id="7" creationId="{9FA5BD23-6EBA-762A-1166-C7DC3F5D3C7A}"/>
          </ac:spMkLst>
        </pc:spChg>
        <pc:spChg chg="add mod">
          <ac:chgData name="Thomas Vonwil" userId="0ad870db-0542-47a7-a857-35483da1cf18" providerId="ADAL" clId="{36C3E75C-CF77-4501-9C9B-93F7F9890DFD}" dt="2026-02-14T19:43:04.338" v="47" actId="1035"/>
          <ac:spMkLst>
            <pc:docMk/>
            <pc:sldMk cId="141999697" sldId="260"/>
            <ac:spMk id="8" creationId="{6CB41841-A807-72B5-EDAA-2487999D6AC6}"/>
          </ac:spMkLst>
        </pc:spChg>
        <pc:spChg chg="mod">
          <ac:chgData name="Thomas Vonwil" userId="0ad870db-0542-47a7-a857-35483da1cf18" providerId="ADAL" clId="{36C3E75C-CF77-4501-9C9B-93F7F9890DFD}" dt="2026-02-14T19:41:11.093" v="3" actId="6549"/>
          <ac:spMkLst>
            <pc:docMk/>
            <pc:sldMk cId="141999697" sldId="260"/>
            <ac:spMk id="27" creationId="{810633E7-50AC-9625-82E9-8974338DDC9F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137" creationId="{6AB1BB6D-F6A9-D0DD-005F-284486C16FFA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168" creationId="{5A78A8C9-6100-0B4B-08F2-87EC7DD036A3}"/>
          </ac:spMkLst>
        </pc:spChg>
        <pc:spChg chg="mod">
          <ac:chgData name="Thomas Vonwil" userId="0ad870db-0542-47a7-a857-35483da1cf18" providerId="ADAL" clId="{36C3E75C-CF77-4501-9C9B-93F7F9890DFD}" dt="2026-02-14T19:42:37.163" v="15" actId="34135"/>
          <ac:spMkLst>
            <pc:docMk/>
            <pc:sldMk cId="141999697" sldId="260"/>
            <ac:spMk id="275" creationId="{2CC15F99-426D-47B2-78BB-A7084A1A1E78}"/>
          </ac:spMkLst>
        </pc:spChg>
        <pc:spChg chg="mod">
          <ac:chgData name="Thomas Vonwil" userId="0ad870db-0542-47a7-a857-35483da1cf18" providerId="ADAL" clId="{36C3E75C-CF77-4501-9C9B-93F7F9890DFD}" dt="2026-02-14T19:42:37.163" v="15" actId="34135"/>
          <ac:spMkLst>
            <pc:docMk/>
            <pc:sldMk cId="141999697" sldId="260"/>
            <ac:spMk id="276" creationId="{AF3D684F-CAA2-E66F-15E4-F508D30D55C7}"/>
          </ac:spMkLst>
        </pc:spChg>
        <pc:spChg chg="mod">
          <ac:chgData name="Thomas Vonwil" userId="0ad870db-0542-47a7-a857-35483da1cf18" providerId="ADAL" clId="{36C3E75C-CF77-4501-9C9B-93F7F9890DFD}" dt="2026-02-14T19:42:37.163" v="15" actId="34135"/>
          <ac:spMkLst>
            <pc:docMk/>
            <pc:sldMk cId="141999697" sldId="260"/>
            <ac:spMk id="277" creationId="{C29898CD-55A1-D9F9-CD60-EA06C229447F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284" creationId="{C75086F2-6898-E5BA-7389-7C568C984908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290" creationId="{881D6AB0-CFC9-AB82-478E-E293666B7F8B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314" creationId="{B5567D4D-9AE3-4BC8-B38C-3208C9818F54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345" creationId="{34122046-3C51-0FED-BC70-C695F228E2D6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359" creationId="{4DD57247-AFEF-831B-7419-CCD880A010C1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365" creationId="{520644A3-C580-384F-3F17-03A1CA65A947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392" creationId="{83D173BA-9025-0615-5EBA-7ABFAE4EB106}"/>
          </ac:spMkLst>
        </pc:spChg>
        <pc:spChg chg="mod">
          <ac:chgData name="Thomas Vonwil" userId="0ad870db-0542-47a7-a857-35483da1cf18" providerId="ADAL" clId="{36C3E75C-CF77-4501-9C9B-93F7F9890DFD}" dt="2026-02-14T19:43:18.024" v="48" actId="34135"/>
          <ac:spMkLst>
            <pc:docMk/>
            <pc:sldMk cId="141999697" sldId="260"/>
            <ac:spMk id="398" creationId="{380309A8-42C1-2E39-EAEF-77CA07E8AE56}"/>
          </ac:spMkLst>
        </pc:spChg>
        <pc:spChg chg="mod">
          <ac:chgData name="Thomas Vonwil" userId="0ad870db-0542-47a7-a857-35483da1cf18" providerId="ADAL" clId="{36C3E75C-CF77-4501-9C9B-93F7F9890DFD}" dt="2026-02-14T19:42:37.163" v="15" actId="34135"/>
          <ac:spMkLst>
            <pc:docMk/>
            <pc:sldMk cId="141999697" sldId="260"/>
            <ac:spMk id="422" creationId="{1070B56B-5173-EA4C-A58A-B10B982538D5}"/>
          </ac:spMkLst>
        </pc:spChg>
        <pc:spChg chg="mod">
          <ac:chgData name="Thomas Vonwil" userId="0ad870db-0542-47a7-a857-35483da1cf18" providerId="ADAL" clId="{36C3E75C-CF77-4501-9C9B-93F7F9890DFD}" dt="2026-02-14T19:42:37.163" v="15" actId="34135"/>
          <ac:spMkLst>
            <pc:docMk/>
            <pc:sldMk cId="141999697" sldId="260"/>
            <ac:spMk id="423" creationId="{B6B3739D-E46E-46A3-6681-E4B4CC3BC19C}"/>
          </ac:spMkLst>
        </pc:spChg>
        <pc:spChg chg="mod">
          <ac:chgData name="Thomas Vonwil" userId="0ad870db-0542-47a7-a857-35483da1cf18" providerId="ADAL" clId="{36C3E75C-CF77-4501-9C9B-93F7F9890DFD}" dt="2026-02-14T19:42:37.163" v="15" actId="34135"/>
          <ac:spMkLst>
            <pc:docMk/>
            <pc:sldMk cId="141999697" sldId="260"/>
            <ac:spMk id="424" creationId="{DAD52CCF-A8DF-3EFB-9939-71876E2A091B}"/>
          </ac:spMkLst>
        </pc:spChg>
        <pc:spChg chg="mod">
          <ac:chgData name="Thomas Vonwil" userId="0ad870db-0542-47a7-a857-35483da1cf18" providerId="ADAL" clId="{36C3E75C-CF77-4501-9C9B-93F7F9890DFD}" dt="2026-02-14T19:42:37.163" v="15" actId="34135"/>
          <ac:spMkLst>
            <pc:docMk/>
            <pc:sldMk cId="141999697" sldId="260"/>
            <ac:spMk id="425" creationId="{9B9CEF34-3347-E612-6D87-C5947C01F06A}"/>
          </ac:spMkLst>
        </pc:spChg>
        <pc:spChg chg="mod">
          <ac:chgData name="Thomas Vonwil" userId="0ad870db-0542-47a7-a857-35483da1cf18" providerId="ADAL" clId="{36C3E75C-CF77-4501-9C9B-93F7F9890DFD}" dt="2026-02-14T19:42:37.163" v="15" actId="34135"/>
          <ac:spMkLst>
            <pc:docMk/>
            <pc:sldMk cId="141999697" sldId="260"/>
            <ac:spMk id="426" creationId="{6931C99C-6312-45F0-E4F0-5D5B5781E385}"/>
          </ac:spMkLst>
        </pc:spChg>
        <pc:grpChg chg="mod">
          <ac:chgData name="Thomas Vonwil" userId="0ad870db-0542-47a7-a857-35483da1cf18" providerId="ADAL" clId="{36C3E75C-CF77-4501-9C9B-93F7F9890DFD}" dt="2026-02-14T19:41:14.521" v="5" actId="1076"/>
          <ac:grpSpMkLst>
            <pc:docMk/>
            <pc:sldMk cId="141999697" sldId="260"/>
            <ac:grpSpMk id="21" creationId="{686A8F97-78EF-6BCE-555D-A14C192E25C6}"/>
          </ac:grpSpMkLst>
        </pc:grpChg>
        <pc:grpChg chg="mod">
          <ac:chgData name="Thomas Vonwil" userId="0ad870db-0542-47a7-a857-35483da1cf18" providerId="ADAL" clId="{36C3E75C-CF77-4501-9C9B-93F7F9890DFD}" dt="2026-02-14T19:42:37.163" v="15" actId="34135"/>
          <ac:grpSpMkLst>
            <pc:docMk/>
            <pc:sldMk cId="141999697" sldId="260"/>
            <ac:grpSpMk id="427" creationId="{508587A0-B466-43AF-E49F-ABFD594E0087}"/>
          </ac:grpSpMkLst>
        </pc:grpChg>
        <pc:graphicFrameChg chg="mod">
          <ac:chgData name="Thomas Vonwil" userId="0ad870db-0542-47a7-a857-35483da1cf18" providerId="ADAL" clId="{36C3E75C-CF77-4501-9C9B-93F7F9890DFD}" dt="2026-02-14T19:41:28.854" v="9"/>
          <ac:graphicFrameMkLst>
            <pc:docMk/>
            <pc:sldMk cId="141999697" sldId="260"/>
            <ac:graphicFrameMk id="4" creationId="{636924B8-1070-E268-4A96-0652E559F8E3}"/>
          </ac:graphicFrameMkLst>
        </pc:graphicFrame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E471F7-6D09-A8F8-9F26-1683F4F3AB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C38949B-F3ED-43A7-B4D8-E1B439DA4C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3E08AC-1DB2-BDFE-B0ED-305CDFA21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A3A807-5CA0-B122-AC08-23BD6CE62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0485-8BDE-5E84-D2EF-1384F0C1C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94771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F6629-A45C-AEE8-9520-2D884D160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859B0F-F221-F45A-9CE6-76CA95D0D5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E55CCD-BB24-C2EE-667B-FDD5F7CEC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91C1F0-EBA1-6744-BDEF-F536DD79F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BDCA2E-8CD1-022F-6333-14098A3C7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506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E5B6E8C-20A3-B066-03A9-9F57B825D37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2DAFE9-8D22-482F-2D3E-916626EE9B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367BC-BBA3-5929-422F-60C5D3B95F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3BBFEB-BDEF-28DE-7684-E446728C3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6F398D-DACD-0FD8-34A6-9BC48CE6E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9102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D932A5A-781C-D37B-D67B-41C5080361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6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932A5A-781C-D37B-D67B-41C508036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5A417E2-5699-465F-947D-9AF894144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426" y="235668"/>
            <a:ext cx="11416203" cy="895548"/>
          </a:xfrm>
          <a:prstGeom prst="rect">
            <a:avLst/>
          </a:prstGeom>
        </p:spPr>
        <p:txBody>
          <a:bodyPr vert="horz" lIns="0" tIns="50800" rIns="0" bIns="50800" anchor="b">
            <a:noAutofit/>
          </a:bodyPr>
          <a:lstStyle>
            <a:lvl1pPr>
              <a:lnSpc>
                <a:spcPct val="105000"/>
              </a:lnSpc>
              <a:defRPr sz="28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Title</a:t>
            </a:r>
            <a:endParaRPr lang="aa-ET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3462B1B-4286-E12D-E7E7-A7A5C41411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3567" y="6491445"/>
            <a:ext cx="355074" cy="277000"/>
          </a:xfrm>
          <a:prstGeom prst="rect">
            <a:avLst/>
          </a:prstGeom>
        </p:spPr>
        <p:txBody>
          <a:bodyPr vert="horz" lIns="0" tIns="50800" rIns="0" bIns="50800" rtlCol="0" anchor="b"/>
          <a:lstStyle>
            <a:lvl1pPr algn="r">
              <a:defRPr sz="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35B5783C-2D64-4F5E-BED7-F78A4BEC84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D516D89-DE24-2302-1FF2-759B637483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9" y="6400800"/>
            <a:ext cx="8555611" cy="367645"/>
          </a:xfrm>
          <a:prstGeom prst="rect">
            <a:avLst/>
          </a:prstGeom>
        </p:spPr>
        <p:txBody>
          <a:bodyPr lIns="0" tIns="50800" rIns="0" bIns="50800" anchor="b"/>
          <a:lstStyle>
            <a:lvl1pPr marL="0" indent="0">
              <a:lnSpc>
                <a:spcPct val="105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add footnote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CA210F97-4D5C-68C9-04DA-595D606973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0426" y="1493471"/>
            <a:ext cx="11418215" cy="2921849"/>
          </a:xfrm>
          <a:prstGeom prst="rect">
            <a:avLst/>
          </a:prstGeom>
        </p:spPr>
        <p:txBody>
          <a:bodyPr lIns="0" tIns="50800" rIns="0" bIns="50800"/>
          <a:lstStyle>
            <a:lvl1pPr marL="228600" indent="-228600">
              <a:lnSpc>
                <a:spcPct val="105000"/>
              </a:lnSpc>
              <a:spcAft>
                <a:spcPts val="300"/>
              </a:spcAft>
              <a:defRPr sz="1600"/>
            </a:lvl1pPr>
            <a:lvl2pPr marL="457200" indent="-228600">
              <a:lnSpc>
                <a:spcPct val="105000"/>
              </a:lnSpc>
              <a:spcAft>
                <a:spcPts val="300"/>
              </a:spcAft>
              <a:defRPr sz="1600"/>
            </a:lvl2pPr>
            <a:lvl3pPr marL="685800" indent="-228600">
              <a:lnSpc>
                <a:spcPct val="105000"/>
              </a:lnSpc>
              <a:spcAft>
                <a:spcPts val="300"/>
              </a:spcAft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Level 1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8B53DFD-2176-A54A-4D66-ECC8C6C17C13}"/>
              </a:ext>
            </a:extLst>
          </p:cNvPr>
          <p:cNvCxnSpPr/>
          <p:nvPr userDrawn="1"/>
        </p:nvCxnSpPr>
        <p:spPr>
          <a:xfrm>
            <a:off x="380999" y="1287426"/>
            <a:ext cx="1362960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874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  <p15:guide id="2" orient="horz" pos="936">
          <p15:clr>
            <a:srgbClr val="FBAE40"/>
          </p15:clr>
        </p15:guide>
        <p15:guide id="3" orient="horz" pos="24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76F1B-A4B7-ACDC-1958-24CF3B08B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19941-DD4D-B468-0E57-93B41D2D5A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785116-C71C-C2C6-A622-F5FD9440B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FCAFF1-B3D4-BB7E-725C-0E8A0C7AA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B98F3D-307E-9E10-1E5F-246F14BEB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952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02257-8E13-2407-1417-DDF1AD6CC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608A21-07D8-2ADB-295D-3A239930C7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385A83-CBC3-35C2-8AF8-E027CBB9B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66994D-DA22-5585-A5D4-3C23FC2991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40A7BA-84E6-C2B1-D921-9B090D335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1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DE177-3631-1F67-17BF-3B6DF478A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DA8260-42DD-A339-D2CC-90B8F20732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4FCDCA-F42D-3D0E-F5A0-0E0A17E04D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930B79-6E71-1F92-FFC4-8E6FF20A55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43B2ED-22F8-86C8-651E-9C3730077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90CC3A-FCFE-6811-6C93-18CE805B3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42141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1C8AF-20B2-C6F9-9F2C-77B9B98C7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96A247-05BD-AFD8-DB54-C9FFE88C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9FBF2E-AC97-0DC6-F6BA-3646048584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116F2A-BD64-9901-0CCA-846DB580F3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5741B2-85F0-A246-2552-BF9CFE29DB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FC33B2-5C85-A1FD-97C3-42DB128B52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F45DC3-19B4-49B6-367C-3E4382144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05E6D3-741E-ADDD-F277-099ED066E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912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DA98D-0AD0-77DB-EC56-419815D89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8ABBF0-A413-AAA5-B24B-A8EFC7F71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668B22-ADD5-650D-CBF2-67C775ED8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4E943E-63CB-C82A-8A02-E22F044F0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92126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8B23A2-1DAC-820F-8579-E0C72546F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080F70-6B49-12B2-9F9F-8EE032F920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7F651D-B83C-B6CA-58E7-75DA17CB4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1987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1E39FA-80E2-35B4-343B-04A53681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8164F9-2708-DF9A-D3EB-1598108896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9D790A-0B96-8E0A-3604-A70C947575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AAB59B-48C7-CA46-E4B9-1DED0FD8A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CB8F8B-0BC8-FA9D-D18E-2E3FB2EB3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E34D65-84C7-6B2E-5E2C-0DD04D091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9204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ECADA-A755-475E-C1C8-F19E31130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E46136-B68F-11ED-0BD2-D4CE70C31E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FF5AF7-6EEF-8A6C-0929-670ACE8A12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44C2CD-594F-CBC2-8E1C-FFF8EBE41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76CA52-B782-C57A-57E9-F998F3E4B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C23FF9-BF32-2E56-393D-00980F650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0189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65DEC7C-3CBF-5CAD-7AC0-0BA8368EE2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42765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DEC7C-3CBF-5CAD-7AC0-0BA8368EE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01F6A2-09FF-99CB-D3F8-2695B5569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4558C-B90A-4A22-FE3A-1A47E8DB23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09038F-C60A-67AD-981C-49432223D4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FB183A0-E792-4230-9862-E341423FB101}" type="datetimeFigureOut">
              <a:rPr lang="en-GB" smtClean="0"/>
              <a:t>14/02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314C0B-C86A-2884-AA1E-AADD34CEE5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C5800D-C030-803B-1F49-2B0FA55116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01A90E-1A9B-42EE-B907-D6BE5E2458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90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image" Target="../media/image3.svg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image" Target="../media/image6.png"/><Relationship Id="rId47" Type="http://schemas.openxmlformats.org/officeDocument/2006/relationships/image" Target="../media/image11.svg"/><Relationship Id="rId50" Type="http://schemas.openxmlformats.org/officeDocument/2006/relationships/image" Target="../media/image14.png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45" Type="http://schemas.openxmlformats.org/officeDocument/2006/relationships/image" Target="../media/image9.svg"/><Relationship Id="rId53" Type="http://schemas.openxmlformats.org/officeDocument/2006/relationships/image" Target="../media/image17.svg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image" Target="../media/image8.png"/><Relationship Id="rId52" Type="http://schemas.openxmlformats.org/officeDocument/2006/relationships/image" Target="../media/image16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slideLayout" Target="../slideLayouts/slideLayout1.xml"/><Relationship Id="rId43" Type="http://schemas.openxmlformats.org/officeDocument/2006/relationships/image" Target="../media/image7.svg"/><Relationship Id="rId48" Type="http://schemas.openxmlformats.org/officeDocument/2006/relationships/image" Target="../media/image12.png"/><Relationship Id="rId8" Type="http://schemas.openxmlformats.org/officeDocument/2006/relationships/tags" Target="../tags/tag10.xml"/><Relationship Id="rId51" Type="http://schemas.openxmlformats.org/officeDocument/2006/relationships/image" Target="../media/image15.svg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image" Target="../media/image2.png"/><Relationship Id="rId46" Type="http://schemas.openxmlformats.org/officeDocument/2006/relationships/image" Target="../media/image10.png"/><Relationship Id="rId20" Type="http://schemas.openxmlformats.org/officeDocument/2006/relationships/tags" Target="../tags/tag22.xml"/><Relationship Id="rId41" Type="http://schemas.openxmlformats.org/officeDocument/2006/relationships/image" Target="../media/image5.sv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oleObject" Target="../embeddings/oleObject3.bin"/><Relationship Id="rId49" Type="http://schemas.openxmlformats.org/officeDocument/2006/relationships/image" Target="../media/image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9613AC-D1C3-745F-0BFA-1A638ADEFA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36924B8-1070-E268-4A96-0652E559F8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415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622" imgH="623" progId="TCLayout.ActiveDocument.1">
                  <p:embed/>
                </p:oleObj>
              </mc:Choice>
              <mc:Fallback>
                <p:oleObj name="think-cell Slide" r:id="rId36" imgW="622" imgH="6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6924B8-1070-E268-4A96-0652E559F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593C7AF-825A-788E-72A1-00F93D2FEB1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0988" y="289622"/>
            <a:ext cx="109817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Operating system scan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651C339-582C-2877-C7CE-F16A731180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964610" y="4050868"/>
            <a:ext cx="2968147" cy="443996"/>
            <a:chOff x="2015410" y="4030695"/>
            <a:chExt cx="2968147" cy="443996"/>
          </a:xfrm>
        </p:grpSpPr>
        <p:sp>
          <p:nvSpPr>
            <p:cNvPr id="134" name="btfpColumnHeaderBoxText895087">
              <a:extLst>
                <a:ext uri="{FF2B5EF4-FFF2-40B4-BE49-F238E27FC236}">
                  <a16:creationId xmlns:a16="http://schemas.microsoft.com/office/drawing/2014/main" id="{2058199F-19D2-9645-F41D-011AC3D4060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>
              <p:custDataLst>
                <p:tags r:id="rId33"/>
              </p:custDataLst>
            </p:nvPr>
          </p:nvSpPr>
          <p:spPr bwMode="gray">
            <a:xfrm>
              <a:off x="2015410" y="4090210"/>
              <a:ext cx="29541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latin typeface="Segoe UI" panose="020B0502040204020203" pitchFamily="34" charset="0"/>
                  <a:cs typeface="Segoe UI" panose="020B0502040204020203" pitchFamily="34" charset="0"/>
                </a:rPr>
                <a:t>Structure</a:t>
              </a:r>
            </a:p>
          </p:txBody>
        </p:sp>
        <p:cxnSp>
          <p:nvCxnSpPr>
            <p:cNvPr id="135" name="btfpColumnHeaderBoxLine895087">
              <a:extLst>
                <a:ext uri="{FF2B5EF4-FFF2-40B4-BE49-F238E27FC236}">
                  <a16:creationId xmlns:a16="http://schemas.microsoft.com/office/drawing/2014/main" id="{C34E01F3-8EB2-1D81-F98E-73DD8E1A8F9A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>
              <p:custDataLst>
                <p:tags r:id="rId34"/>
              </p:custDataLst>
            </p:nvPr>
          </p:nvCxnSpPr>
          <p:spPr bwMode="gray">
            <a:xfrm>
              <a:off x="2015410" y="4380917"/>
              <a:ext cx="2954148" cy="0"/>
            </a:xfrm>
            <a:prstGeom prst="line">
              <a:avLst/>
            </a:prstGeom>
            <a:ln w="127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C9F44A7B-6A8C-CCC9-9D07-EDD565331137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4539561" y="4030695"/>
              <a:ext cx="443996" cy="443996"/>
              <a:chOff x="4525562" y="4403671"/>
              <a:chExt cx="443996" cy="443996"/>
            </a:xfrm>
          </p:grpSpPr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6AB1BB6D-F6A9-D0DD-005F-284486C16FF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525562" y="4403671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138" name="Graphic 137">
                <a:extLst>
                  <a:ext uri="{FF2B5EF4-FFF2-40B4-BE49-F238E27FC236}">
                    <a16:creationId xmlns:a16="http://schemas.microsoft.com/office/drawing/2014/main" id="{19340864-29AA-71A6-9FCE-05C71420F08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 rotWithShape="1">
              <a:blip r:embed="rId3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9"/>
                  </a:ext>
                </a:extLst>
              </a:blip>
              <a:srcRect l="15564" t="16111" r="15489" b="15926"/>
              <a:stretch/>
            </p:blipFill>
            <p:spPr>
              <a:xfrm>
                <a:off x="4525562" y="4410015"/>
                <a:ext cx="443996" cy="437652"/>
              </a:xfrm>
              <a:prstGeom prst="rect">
                <a:avLst/>
              </a:prstGeom>
            </p:spPr>
          </p:pic>
        </p:grp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CEE72921-64CC-31B4-8BEB-201B671DB1EB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263557" y="4004255"/>
            <a:ext cx="3019418" cy="531725"/>
            <a:chOff x="5289193" y="3984456"/>
            <a:chExt cx="3019418" cy="531725"/>
          </a:xfrm>
        </p:grpSpPr>
        <p:sp>
          <p:nvSpPr>
            <p:cNvPr id="140" name="btfpColumnHeaderBoxText895087">
              <a:extLst>
                <a:ext uri="{FF2B5EF4-FFF2-40B4-BE49-F238E27FC236}">
                  <a16:creationId xmlns:a16="http://schemas.microsoft.com/office/drawing/2014/main" id="{4206E036-4602-22C1-5C74-134E4C9A334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>
              <p:custDataLst>
                <p:tags r:id="rId31"/>
              </p:custDataLst>
            </p:nvPr>
          </p:nvSpPr>
          <p:spPr bwMode="gray">
            <a:xfrm>
              <a:off x="5289193" y="4090210"/>
              <a:ext cx="29541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latin typeface="Segoe UI" panose="020B0502040204020203" pitchFamily="34" charset="0"/>
                  <a:cs typeface="Segoe UI" panose="020B0502040204020203" pitchFamily="34" charset="0"/>
                </a:rPr>
                <a:t>Processes &amp; initiatives</a:t>
              </a:r>
            </a:p>
          </p:txBody>
        </p:sp>
        <p:cxnSp>
          <p:nvCxnSpPr>
            <p:cNvPr id="141" name="btfpColumnHeaderBoxLine895087">
              <a:extLst>
                <a:ext uri="{FF2B5EF4-FFF2-40B4-BE49-F238E27FC236}">
                  <a16:creationId xmlns:a16="http://schemas.microsoft.com/office/drawing/2014/main" id="{713B0DFE-3F48-03B7-1E3F-A1004CBEF1E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>
              <p:custDataLst>
                <p:tags r:id="rId32"/>
              </p:custDataLst>
            </p:nvPr>
          </p:nvCxnSpPr>
          <p:spPr bwMode="gray">
            <a:xfrm>
              <a:off x="5289193" y="4380917"/>
              <a:ext cx="2954148" cy="0"/>
            </a:xfrm>
            <a:prstGeom prst="line">
              <a:avLst/>
            </a:prstGeom>
            <a:ln w="127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7FF12D2E-3C4E-729A-00CA-D0F591E68F7E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762073" y="3984456"/>
              <a:ext cx="546538" cy="531725"/>
              <a:chOff x="6763742" y="4399142"/>
              <a:chExt cx="546538" cy="531725"/>
            </a:xfrm>
          </p:grpSpPr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BA598137-42DB-069E-C5F2-3F204A04B0B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815013" y="4443006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144" name="Graphic 143">
                <a:extLst>
                  <a:ext uri="{FF2B5EF4-FFF2-40B4-BE49-F238E27FC236}">
                    <a16:creationId xmlns:a16="http://schemas.microsoft.com/office/drawing/2014/main" id="{092A60F9-65AE-8A75-D042-155F17F973B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 rotWithShape="1"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1"/>
                  </a:ext>
                </a:extLst>
              </a:blip>
              <a:srcRect l="16280" t="17724" r="17214" b="17573"/>
              <a:stretch/>
            </p:blipFill>
            <p:spPr>
              <a:xfrm>
                <a:off x="6763742" y="4399142"/>
                <a:ext cx="546538" cy="531725"/>
              </a:xfrm>
              <a:prstGeom prst="rect">
                <a:avLst/>
              </a:prstGeom>
            </p:spPr>
          </p:pic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AB7968C3-1A34-A981-11A2-0F00E96E4FD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613775" y="4015946"/>
            <a:ext cx="3004111" cy="493430"/>
            <a:chOff x="8562975" y="4002497"/>
            <a:chExt cx="3004111" cy="493430"/>
          </a:xfrm>
        </p:grpSpPr>
        <p:sp>
          <p:nvSpPr>
            <p:cNvPr id="158" name="btfpColumnHeaderBoxText895087">
              <a:extLst>
                <a:ext uri="{FF2B5EF4-FFF2-40B4-BE49-F238E27FC236}">
                  <a16:creationId xmlns:a16="http://schemas.microsoft.com/office/drawing/2014/main" id="{0BFF764D-64AB-E99F-577B-7746DF35506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>
              <p:custDataLst>
                <p:tags r:id="rId29"/>
              </p:custDataLst>
            </p:nvPr>
          </p:nvSpPr>
          <p:spPr bwMode="gray">
            <a:xfrm>
              <a:off x="8562975" y="4090210"/>
              <a:ext cx="29541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latin typeface="Segoe UI" panose="020B0502040204020203" pitchFamily="34" charset="0"/>
                  <a:cs typeface="Segoe UI" panose="020B0502040204020203" pitchFamily="34" charset="0"/>
                </a:rPr>
                <a:t>Information technology</a:t>
              </a:r>
            </a:p>
          </p:txBody>
        </p:sp>
        <p:cxnSp>
          <p:nvCxnSpPr>
            <p:cNvPr id="159" name="btfpColumnHeaderBoxLine895087">
              <a:extLst>
                <a:ext uri="{FF2B5EF4-FFF2-40B4-BE49-F238E27FC236}">
                  <a16:creationId xmlns:a16="http://schemas.microsoft.com/office/drawing/2014/main" id="{58484372-C2E8-5836-CF47-F37EC85AD0D4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>
              <p:custDataLst>
                <p:tags r:id="rId30"/>
              </p:custDataLst>
            </p:nvPr>
          </p:nvCxnSpPr>
          <p:spPr bwMode="gray">
            <a:xfrm>
              <a:off x="8562975" y="4380917"/>
              <a:ext cx="2954148" cy="0"/>
            </a:xfrm>
            <a:prstGeom prst="line">
              <a:avLst/>
            </a:prstGeom>
            <a:ln w="127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94DEDEFD-2FEA-1A39-793D-EB3FF26C4908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1051162" y="4002497"/>
              <a:ext cx="515924" cy="493430"/>
              <a:chOff x="9000581" y="4434364"/>
              <a:chExt cx="515924" cy="493430"/>
            </a:xfrm>
          </p:grpSpPr>
          <p:sp>
            <p:nvSpPr>
              <p:cNvPr id="161" name="Rectangle 160">
                <a:extLst>
                  <a:ext uri="{FF2B5EF4-FFF2-40B4-BE49-F238E27FC236}">
                    <a16:creationId xmlns:a16="http://schemas.microsoft.com/office/drawing/2014/main" id="{482B091B-F2BB-52A3-E38C-48082CFB37A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9036545" y="4459081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162" name="Graphic 161">
                <a:extLst>
                  <a:ext uri="{FF2B5EF4-FFF2-40B4-BE49-F238E27FC236}">
                    <a16:creationId xmlns:a16="http://schemas.microsoft.com/office/drawing/2014/main" id="{85137B16-1BD2-AD86-2705-213985550EF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 rotWithShape="1">
              <a:blip r:embed="rId4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3"/>
                  </a:ext>
                </a:extLst>
              </a:blip>
              <a:srcRect l="16661" t="18499" r="16751" b="17816"/>
              <a:stretch/>
            </p:blipFill>
            <p:spPr>
              <a:xfrm>
                <a:off x="9000581" y="4434364"/>
                <a:ext cx="515924" cy="493430"/>
              </a:xfrm>
              <a:prstGeom prst="rect">
                <a:avLst/>
              </a:prstGeom>
            </p:spPr>
          </p:pic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0570AE8-2E8E-9376-2FFA-AC8180CB98F0}"/>
              </a:ext>
            </a:extLst>
          </p:cNvPr>
          <p:cNvGrpSpPr/>
          <p:nvPr/>
        </p:nvGrpSpPr>
        <p:grpSpPr>
          <a:xfrm>
            <a:off x="1964610" y="1172278"/>
            <a:ext cx="2993650" cy="443996"/>
            <a:chOff x="2114025" y="1298903"/>
            <a:chExt cx="2993650" cy="443996"/>
          </a:xfrm>
        </p:grpSpPr>
        <p:grpSp>
          <p:nvGrpSpPr>
            <p:cNvPr id="42" name="btfpColumnHeaderBox895087">
              <a:extLst>
                <a:ext uri="{FF2B5EF4-FFF2-40B4-BE49-F238E27FC236}">
                  <a16:creationId xmlns:a16="http://schemas.microsoft.com/office/drawing/2014/main" id="{9567619D-5C79-F076-55DB-BF4E43C19600}"/>
                </a:ext>
              </a:extLst>
            </p:cNvPr>
            <p:cNvGrpSpPr/>
            <p:nvPr>
              <p:custDataLst>
                <p:tags r:id="rId26"/>
              </p:custDataLst>
            </p:nvPr>
          </p:nvGrpSpPr>
          <p:grpSpPr>
            <a:xfrm>
              <a:off x="2114025" y="1360159"/>
              <a:ext cx="2954148" cy="290707"/>
              <a:chOff x="10236200" y="1630009"/>
              <a:chExt cx="1625600" cy="290707"/>
            </a:xfrm>
          </p:grpSpPr>
          <p:sp>
            <p:nvSpPr>
              <p:cNvPr id="46" name="btfpColumnHeaderBoxText895087">
                <a:extLst>
                  <a:ext uri="{FF2B5EF4-FFF2-40B4-BE49-F238E27FC236}">
                    <a16:creationId xmlns:a16="http://schemas.microsoft.com/office/drawing/2014/main" id="{52D7210F-BEE3-D8B9-BD51-5ABCFD08875A}"/>
                  </a:ext>
                </a:extLst>
              </p:cNvPr>
              <p:cNvSpPr txBox="1"/>
              <p:nvPr>
                <p:custDataLst>
                  <p:tags r:id="rId27"/>
                </p:custDataLst>
              </p:nvPr>
            </p:nvSpPr>
            <p:spPr bwMode="gray">
              <a:xfrm>
                <a:off x="10236200" y="1630009"/>
                <a:ext cx="1625600" cy="288219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b">
                <a:spAutoFit/>
              </a:bodyPr>
              <a:lstStyle/>
              <a:p>
                <a:pPr marL="0" indent="0">
                  <a:spcBef>
                    <a:spcPct val="0"/>
                  </a:spcBef>
                  <a:buNone/>
                </a:pPr>
                <a:r>
                  <a:rPr 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People</a:t>
                </a:r>
              </a:p>
            </p:txBody>
          </p:sp>
          <p:cxnSp>
            <p:nvCxnSpPr>
              <p:cNvPr id="47" name="btfpColumnHeaderBoxLine895087">
                <a:extLst>
                  <a:ext uri="{FF2B5EF4-FFF2-40B4-BE49-F238E27FC236}">
                    <a16:creationId xmlns:a16="http://schemas.microsoft.com/office/drawing/2014/main" id="{521242A1-5511-5BB4-F954-B093EC0C1EE2}"/>
                  </a:ext>
                </a:extLst>
              </p:cNvPr>
              <p:cNvCxnSpPr/>
              <p:nvPr>
                <p:custDataLst>
                  <p:tags r:id="rId28"/>
                </p:custDataLst>
              </p:nvPr>
            </p:nvCxnSpPr>
            <p:spPr bwMode="gray">
              <a:xfrm>
                <a:off x="10236200" y="1920716"/>
                <a:ext cx="1625600" cy="0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9AD13CD-3FAF-E72E-C15D-0EE15CB68920}"/>
                </a:ext>
              </a:extLst>
            </p:cNvPr>
            <p:cNvGrpSpPr/>
            <p:nvPr/>
          </p:nvGrpSpPr>
          <p:grpSpPr>
            <a:xfrm>
              <a:off x="4612673" y="1298903"/>
              <a:ext cx="495002" cy="443996"/>
              <a:chOff x="4523252" y="2295155"/>
              <a:chExt cx="495002" cy="443996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EB748DEA-34A3-AD7B-41DD-AB26D8C6D791}"/>
                  </a:ext>
                </a:extLst>
              </p:cNvPr>
              <p:cNvSpPr/>
              <p:nvPr/>
            </p:nvSpPr>
            <p:spPr>
              <a:xfrm>
                <a:off x="4548755" y="2295155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45" name="Graphic 44">
                <a:extLst>
                  <a:ext uri="{FF2B5EF4-FFF2-40B4-BE49-F238E27FC236}">
                    <a16:creationId xmlns:a16="http://schemas.microsoft.com/office/drawing/2014/main" id="{D8392653-AF4A-3582-4484-168F6F9C5C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5"/>
                  </a:ext>
                </a:extLst>
              </a:blip>
              <a:srcRect l="17635" t="30305" r="17548" b="30748"/>
              <a:stretch/>
            </p:blipFill>
            <p:spPr>
              <a:xfrm>
                <a:off x="4523252" y="2368439"/>
                <a:ext cx="495002" cy="297429"/>
              </a:xfrm>
              <a:prstGeom prst="rect">
                <a:avLst/>
              </a:prstGeom>
            </p:spPr>
          </p:pic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204D214-2C71-4FC4-BAA5-4699C0A8782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272484" y="1172278"/>
            <a:ext cx="3027067" cy="443996"/>
            <a:chOff x="5387808" y="1298903"/>
            <a:chExt cx="3027067" cy="443996"/>
          </a:xfrm>
        </p:grpSpPr>
        <p:grpSp>
          <p:nvGrpSpPr>
            <p:cNvPr id="49" name="btfpColumnHeaderBox895087">
              <a:extLst>
                <a:ext uri="{FF2B5EF4-FFF2-40B4-BE49-F238E27FC236}">
                  <a16:creationId xmlns:a16="http://schemas.microsoft.com/office/drawing/2014/main" id="{EE9308B4-14AD-FF78-C6C2-857293E3FE46}"/>
                </a:ext>
              </a:extLst>
            </p:cNvPr>
            <p:cNvGrpSpPr>
              <a:grpSpLocks noGrp="1" noUngrp="1" noRot="1" noMove="1" noResize="1"/>
            </p:cNvGrpSpPr>
            <p:nvPr>
              <p:custDataLst>
                <p:tags r:id="rId23"/>
              </p:custDataLst>
            </p:nvPr>
          </p:nvGrpSpPr>
          <p:grpSpPr>
            <a:xfrm>
              <a:off x="5387808" y="1360159"/>
              <a:ext cx="2954148" cy="290707"/>
              <a:chOff x="10236200" y="1630009"/>
              <a:chExt cx="1625600" cy="290707"/>
            </a:xfrm>
          </p:grpSpPr>
          <p:sp>
            <p:nvSpPr>
              <p:cNvPr id="53" name="btfpColumnHeaderBoxText895087">
                <a:extLst>
                  <a:ext uri="{FF2B5EF4-FFF2-40B4-BE49-F238E27FC236}">
                    <a16:creationId xmlns:a16="http://schemas.microsoft.com/office/drawing/2014/main" id="{B9B49E25-1AF5-0140-1225-7EB8F18F05CB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0236200" y="1630009"/>
                <a:ext cx="1625600" cy="288219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b">
                <a:spAutoFit/>
              </a:bodyPr>
              <a:lstStyle/>
              <a:p>
                <a:pPr marL="0" indent="0">
                  <a:spcBef>
                    <a:spcPct val="0"/>
                  </a:spcBef>
                  <a:buNone/>
                </a:pPr>
                <a:r>
                  <a:rPr 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Strategy</a:t>
                </a:r>
              </a:p>
            </p:txBody>
          </p:sp>
          <p:cxnSp>
            <p:nvCxnSpPr>
              <p:cNvPr id="54" name="btfpColumnHeaderBoxLine895087">
                <a:extLst>
                  <a:ext uri="{FF2B5EF4-FFF2-40B4-BE49-F238E27FC236}">
                    <a16:creationId xmlns:a16="http://schemas.microsoft.com/office/drawing/2014/main" id="{F61290CB-6767-6457-4CAC-E2DA5F4E2374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>
                <p:custDataLst>
                  <p:tags r:id="rId25"/>
                </p:custDataLst>
              </p:nvPr>
            </p:nvCxnSpPr>
            <p:spPr bwMode="gray">
              <a:xfrm>
                <a:off x="10236200" y="1920716"/>
                <a:ext cx="1625600" cy="0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B292FFE-EE94-8867-1618-C31C9F08605F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856854" y="1298903"/>
              <a:ext cx="558021" cy="443996"/>
              <a:chOff x="6773290" y="2276376"/>
              <a:chExt cx="558021" cy="443996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D98F7C11-F8CD-FB0C-5D15-781002ADEDE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830302" y="2276376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52" name="Graphic 51">
                <a:extLst>
                  <a:ext uri="{FF2B5EF4-FFF2-40B4-BE49-F238E27FC236}">
                    <a16:creationId xmlns:a16="http://schemas.microsoft.com/office/drawing/2014/main" id="{CB5F596B-973E-A9D1-EF50-F14404091C1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 rotWithShape="1">
              <a:blip r:embed="rId4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7"/>
                  </a:ext>
                </a:extLst>
              </a:blip>
              <a:srcRect l="16185" t="30526" r="15039" b="31126"/>
              <a:stretch/>
            </p:blipFill>
            <p:spPr>
              <a:xfrm>
                <a:off x="6773290" y="2342806"/>
                <a:ext cx="558021" cy="311137"/>
              </a:xfrm>
              <a:prstGeom prst="rect">
                <a:avLst/>
              </a:prstGeom>
            </p:spPr>
          </p:pic>
        </p:grp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94C5D9FE-8AC6-005E-480A-6FAB9B86184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613775" y="1172278"/>
            <a:ext cx="2970629" cy="443996"/>
            <a:chOff x="8661590" y="1298903"/>
            <a:chExt cx="2970629" cy="443996"/>
          </a:xfrm>
        </p:grpSpPr>
        <p:grpSp>
          <p:nvGrpSpPr>
            <p:cNvPr id="165" name="btfpColumnHeaderBox895087">
              <a:extLst>
                <a:ext uri="{FF2B5EF4-FFF2-40B4-BE49-F238E27FC236}">
                  <a16:creationId xmlns:a16="http://schemas.microsoft.com/office/drawing/2014/main" id="{B8F23B17-75F2-053D-7009-92D4D3227EAC}"/>
                </a:ext>
              </a:extLst>
            </p:cNvPr>
            <p:cNvGrpSpPr>
              <a:grpSpLocks noGrp="1" noUngrp="1" noRot="1" noMove="1" noResize="1"/>
            </p:cNvGrpSpPr>
            <p:nvPr>
              <p:custDataLst>
                <p:tags r:id="rId20"/>
              </p:custDataLst>
            </p:nvPr>
          </p:nvGrpSpPr>
          <p:grpSpPr>
            <a:xfrm>
              <a:off x="8661590" y="1360159"/>
              <a:ext cx="2954148" cy="290707"/>
              <a:chOff x="10236200" y="1630009"/>
              <a:chExt cx="1625600" cy="290707"/>
            </a:xfrm>
          </p:grpSpPr>
          <p:sp>
            <p:nvSpPr>
              <p:cNvPr id="173" name="btfpColumnHeaderBoxText895087">
                <a:extLst>
                  <a:ext uri="{FF2B5EF4-FFF2-40B4-BE49-F238E27FC236}">
                    <a16:creationId xmlns:a16="http://schemas.microsoft.com/office/drawing/2014/main" id="{221D08FA-8E46-009E-1BD3-1CFE5683E75D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0236200" y="1630009"/>
                <a:ext cx="1625600" cy="288219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b">
                <a:spAutoFit/>
              </a:bodyPr>
              <a:lstStyle/>
              <a:p>
                <a:pPr marL="0" indent="0">
                  <a:spcBef>
                    <a:spcPct val="0"/>
                  </a:spcBef>
                  <a:buNone/>
                </a:pPr>
                <a:r>
                  <a:rPr 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Priorities</a:t>
                </a:r>
              </a:p>
            </p:txBody>
          </p:sp>
          <p:cxnSp>
            <p:nvCxnSpPr>
              <p:cNvPr id="175" name="btfpColumnHeaderBoxLine895087">
                <a:extLst>
                  <a:ext uri="{FF2B5EF4-FFF2-40B4-BE49-F238E27FC236}">
                    <a16:creationId xmlns:a16="http://schemas.microsoft.com/office/drawing/2014/main" id="{CA6058F9-73FA-33F3-FF84-1BB242D69878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>
                <p:custDataLst>
                  <p:tags r:id="rId22"/>
                </p:custDataLst>
              </p:nvPr>
            </p:nvCxnSpPr>
            <p:spPr bwMode="gray">
              <a:xfrm>
                <a:off x="10236200" y="1920716"/>
                <a:ext cx="1625600" cy="0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CA4CDA7A-BCF8-3DEA-ED16-4E6C17980A89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1188223" y="1298903"/>
              <a:ext cx="443996" cy="443996"/>
              <a:chOff x="9072984" y="2232544"/>
              <a:chExt cx="443996" cy="443996"/>
            </a:xfrm>
          </p:grpSpPr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EBEC50DF-9C58-05AC-5D9F-57492E16002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9072984" y="2232544"/>
                <a:ext cx="443996" cy="4439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169" name="Graphic 168">
                <a:extLst>
                  <a:ext uri="{FF2B5EF4-FFF2-40B4-BE49-F238E27FC236}">
                    <a16:creationId xmlns:a16="http://schemas.microsoft.com/office/drawing/2014/main" id="{288B010A-D586-61A9-3B65-5ADA8AFBBAE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 rotWithShape="1">
              <a:blip r:embed="rId4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9"/>
                  </a:ext>
                </a:extLst>
              </a:blip>
              <a:srcRect l="24432" t="23910" r="24904" b="24697"/>
              <a:stretch/>
            </p:blipFill>
            <p:spPr>
              <a:xfrm>
                <a:off x="9076570" y="2232985"/>
                <a:ext cx="436824" cy="443114"/>
              </a:xfrm>
              <a:prstGeom prst="rect">
                <a:avLst/>
              </a:prstGeom>
            </p:spPr>
          </p:pic>
        </p:grpSp>
      </p:grpSp>
      <p:sp>
        <p:nvSpPr>
          <p:cNvPr id="223" name="TextBox 222">
            <a:extLst>
              <a:ext uri="{FF2B5EF4-FFF2-40B4-BE49-F238E27FC236}">
                <a16:creationId xmlns:a16="http://schemas.microsoft.com/office/drawing/2014/main" id="{12D904A4-FE0B-7C8E-9633-90145F8C9D8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140" y="3346386"/>
            <a:ext cx="100535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Execution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AFB35E73-83B8-0AC1-95EC-806D6ABFB9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2"/>
            </p:custDataLst>
          </p:nvPr>
        </p:nvSpPr>
        <p:spPr bwMode="gray">
          <a:xfrm>
            <a:off x="1961588" y="3242424"/>
            <a:ext cx="2960932" cy="423369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4" name="Flowchart: Alternate Process 283">
            <a:extLst>
              <a:ext uri="{FF2B5EF4-FFF2-40B4-BE49-F238E27FC236}">
                <a16:creationId xmlns:a16="http://schemas.microsoft.com/office/drawing/2014/main" id="{C75086F2-6898-E5BA-7389-7C568C9849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2372" y="3335998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AB30B40D-2745-4F5E-A77C-E3FEBF85B5A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062332" y="3317821"/>
            <a:ext cx="2400926" cy="27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Living our designs</a:t>
            </a: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E34B6452-D47D-241B-A698-50561476D04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3"/>
            </p:custDataLst>
          </p:nvPr>
        </p:nvSpPr>
        <p:spPr bwMode="gray">
          <a:xfrm>
            <a:off x="5273154" y="3242424"/>
            <a:ext cx="2960932" cy="423369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E0A38B01-9FD3-949F-2097-8304B126060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373898" y="3317821"/>
            <a:ext cx="2400926" cy="27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Living our designs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5461930C-8CBD-EF67-1182-4E44251648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4"/>
            </p:custDataLst>
          </p:nvPr>
        </p:nvSpPr>
        <p:spPr bwMode="gray">
          <a:xfrm>
            <a:off x="8618470" y="3242424"/>
            <a:ext cx="2960932" cy="423369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6F32729F-E1E2-1AA4-5161-0FB8E3D5974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719214" y="3317821"/>
            <a:ext cx="2400926" cy="27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Living our designs</a:t>
            </a:r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A639BC21-A449-E183-CC86-2563FA5D1E8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747230" y="3242424"/>
            <a:ext cx="0" cy="42336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2" name="Flowchart: Alternate Process 381">
            <a:extLst>
              <a:ext uri="{FF2B5EF4-FFF2-40B4-BE49-F238E27FC236}">
                <a16:creationId xmlns:a16="http://schemas.microsoft.com/office/drawing/2014/main" id="{7E207736-1776-CC52-E99E-746C118EDE7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905409" y="3335998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6" name="Flowchart: Alternate Process 385">
            <a:extLst>
              <a:ext uri="{FF2B5EF4-FFF2-40B4-BE49-F238E27FC236}">
                <a16:creationId xmlns:a16="http://schemas.microsoft.com/office/drawing/2014/main" id="{90AE6A18-E8D9-02DB-545B-3299933CAE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256533" y="3335998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7021091E-5FF3-88B8-943A-D39A465E364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140" y="2722307"/>
            <a:ext cx="100535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Awareness</a:t>
            </a:r>
          </a:p>
        </p:txBody>
      </p: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B77F2221-1604-76A4-E120-84BC252DDB6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749915" y="2575226"/>
            <a:ext cx="0" cy="50960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2" name="Rectangle 281">
            <a:extLst>
              <a:ext uri="{FF2B5EF4-FFF2-40B4-BE49-F238E27FC236}">
                <a16:creationId xmlns:a16="http://schemas.microsoft.com/office/drawing/2014/main" id="{7E0CD96B-D681-820D-70AA-7375F07C39B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5"/>
            </p:custDataLst>
          </p:nvPr>
        </p:nvSpPr>
        <p:spPr bwMode="gray">
          <a:xfrm>
            <a:off x="1961588" y="2570204"/>
            <a:ext cx="2960932" cy="519650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EFBF7D68-F84D-F9D9-E523-5BAA137398E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062333" y="2596792"/>
            <a:ext cx="1756632" cy="466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Shared understanding of our designs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2EB5725B-F4DA-8E96-E8D4-5F02D1693B1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6"/>
            </p:custDataLst>
          </p:nvPr>
        </p:nvSpPr>
        <p:spPr bwMode="gray">
          <a:xfrm>
            <a:off x="5273154" y="2570204"/>
            <a:ext cx="2960932" cy="519650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692F9183-5744-0476-F3CE-577048FCE58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7"/>
            </p:custDataLst>
          </p:nvPr>
        </p:nvSpPr>
        <p:spPr bwMode="gray">
          <a:xfrm>
            <a:off x="8618470" y="2570204"/>
            <a:ext cx="2960932" cy="519650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FD5850F4-9275-57B7-07DD-2E63A5000AE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370136" y="2596792"/>
            <a:ext cx="1801629" cy="466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Shared understanding of our designs</a:t>
            </a: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4DD57247-AFEF-831B-7419-CCD880A010C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715452" y="2596792"/>
            <a:ext cx="1737395" cy="466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Shared understanding of our designs</a:t>
            </a:r>
          </a:p>
        </p:txBody>
      </p:sp>
      <p:sp>
        <p:nvSpPr>
          <p:cNvPr id="372" name="Flowchart: Alternate Process 371">
            <a:extLst>
              <a:ext uri="{FF2B5EF4-FFF2-40B4-BE49-F238E27FC236}">
                <a16:creationId xmlns:a16="http://schemas.microsoft.com/office/drawing/2014/main" id="{1E6F72EA-050F-9BC0-9879-7A795B97E66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2372" y="2711919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3" name="Flowchart: Alternate Process 382">
            <a:extLst>
              <a:ext uri="{FF2B5EF4-FFF2-40B4-BE49-F238E27FC236}">
                <a16:creationId xmlns:a16="http://schemas.microsoft.com/office/drawing/2014/main" id="{EBEBC566-37EC-FC32-A547-5C40D0D1AA9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905409" y="2711919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7" name="Flowchart: Alternate Process 386">
            <a:extLst>
              <a:ext uri="{FF2B5EF4-FFF2-40B4-BE49-F238E27FC236}">
                <a16:creationId xmlns:a16="http://schemas.microsoft.com/office/drawing/2014/main" id="{8F91F805-AFB1-9151-493E-75B6233F03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256533" y="2711919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613222E-3C82-757B-CF92-010C3C32C0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8"/>
            </p:custDataLst>
          </p:nvPr>
        </p:nvSpPr>
        <p:spPr bwMode="gray">
          <a:xfrm>
            <a:off x="1961588" y="1696796"/>
            <a:ext cx="2960932" cy="720838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5A78A8C9-6100-0B4B-08F2-87EC7DD036A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062332" y="1727028"/>
            <a:ext cx="2090568" cy="660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Values, behaviors; hiring, development, recognition, performance management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E500D19F-BDE6-03D4-76AF-441F8176F04A}"/>
              </a:ext>
            </a:extLst>
          </p:cNvPr>
          <p:cNvSpPr txBox="1"/>
          <p:nvPr/>
        </p:nvSpPr>
        <p:spPr>
          <a:xfrm>
            <a:off x="613139" y="1666785"/>
            <a:ext cx="100535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388443C-EB2C-2755-9AF8-BA38F504C96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749915" y="1696796"/>
            <a:ext cx="0" cy="72083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tangle 289">
            <a:extLst>
              <a:ext uri="{FF2B5EF4-FFF2-40B4-BE49-F238E27FC236}">
                <a16:creationId xmlns:a16="http://schemas.microsoft.com/office/drawing/2014/main" id="{881D6AB0-CFC9-AB82-478E-E293666B7F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9"/>
            </p:custDataLst>
          </p:nvPr>
        </p:nvSpPr>
        <p:spPr bwMode="gray">
          <a:xfrm>
            <a:off x="5273154" y="1696796"/>
            <a:ext cx="2960932" cy="720838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B8055AC7-6D13-91AF-DEBB-0D9EA91EE5C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373898" y="1727028"/>
            <a:ext cx="2395113" cy="660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Winning aspiration, where we play, how we win, the few things we do better than anyone else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7BCDF08F-C0FA-D882-7FD3-348ADCBD8E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0"/>
            </p:custDataLst>
          </p:nvPr>
        </p:nvSpPr>
        <p:spPr bwMode="gray">
          <a:xfrm>
            <a:off x="8618470" y="1696796"/>
            <a:ext cx="2960932" cy="720838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A981DA59-5136-111F-4754-A3406A040E0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719213" y="1727028"/>
            <a:ext cx="2603209" cy="660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 spc="-20" dirty="0">
                <a:latin typeface="Segoe UI" panose="020B0502040204020203" pitchFamily="34" charset="0"/>
                <a:cs typeface="Segoe UI" panose="020B0502040204020203" pitchFamily="34" charset="0"/>
              </a:rPr>
              <a:t>Mid-term roadmap and (financial) guardrails; short-term goals (OKRs) and KPIs; capacity allocation</a:t>
            </a:r>
          </a:p>
        </p:txBody>
      </p:sp>
      <p:sp>
        <p:nvSpPr>
          <p:cNvPr id="373" name="Flowchart: Alternate Process 372">
            <a:extLst>
              <a:ext uri="{FF2B5EF4-FFF2-40B4-BE49-F238E27FC236}">
                <a16:creationId xmlns:a16="http://schemas.microsoft.com/office/drawing/2014/main" id="{28EED409-61BA-7B64-32C0-1B8263FBF1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2372" y="1939105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4" name="Flowchart: Alternate Process 383">
            <a:extLst>
              <a:ext uri="{FF2B5EF4-FFF2-40B4-BE49-F238E27FC236}">
                <a16:creationId xmlns:a16="http://schemas.microsoft.com/office/drawing/2014/main" id="{F04D13A1-8BFF-1153-48A5-DAB52E2FA15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905409" y="1939105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8" name="Flowchart: Alternate Process 387">
            <a:extLst>
              <a:ext uri="{FF2B5EF4-FFF2-40B4-BE49-F238E27FC236}">
                <a16:creationId xmlns:a16="http://schemas.microsoft.com/office/drawing/2014/main" id="{5FEDE01A-9FFA-5DB1-1FC6-DD801463EC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256533" y="1939105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495065CF-9BC0-9773-CF95-1AFDEB90DDA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1"/>
            </p:custDataLst>
          </p:nvPr>
        </p:nvSpPr>
        <p:spPr bwMode="gray">
          <a:xfrm>
            <a:off x="1957826" y="6124838"/>
            <a:ext cx="2960932" cy="423369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8B5E5478-C647-885B-6139-33E1B0C53B9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058570" y="6200235"/>
            <a:ext cx="2400926" cy="27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Living our designs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19A35830-70B7-316D-D4D3-809CA9D3EB6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2"/>
            </p:custDataLst>
          </p:nvPr>
        </p:nvSpPr>
        <p:spPr bwMode="gray">
          <a:xfrm>
            <a:off x="5269392" y="6124838"/>
            <a:ext cx="2960932" cy="423369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34122046-3C51-0FED-BC70-C695F228E2D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370136" y="6200235"/>
            <a:ext cx="2400926" cy="27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Living our designs</a:t>
            </a:r>
          </a:p>
        </p:txBody>
      </p:sp>
      <p:sp>
        <p:nvSpPr>
          <p:cNvPr id="346" name="Rectangle 345">
            <a:extLst>
              <a:ext uri="{FF2B5EF4-FFF2-40B4-BE49-F238E27FC236}">
                <a16:creationId xmlns:a16="http://schemas.microsoft.com/office/drawing/2014/main" id="{6494C035-42CB-4EF3-EF16-1284B89FC9D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3"/>
            </p:custDataLst>
          </p:nvPr>
        </p:nvSpPr>
        <p:spPr bwMode="gray">
          <a:xfrm>
            <a:off x="8614708" y="6124838"/>
            <a:ext cx="2960932" cy="423369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028DA414-C365-7B6F-DDDC-C448E5AE837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715452" y="6200235"/>
            <a:ext cx="2400926" cy="27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Living our designs</a:t>
            </a:r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3504D830-5E7B-747E-1D2C-57FA440D179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140" y="6228800"/>
            <a:ext cx="100535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Execution</a:t>
            </a:r>
          </a:p>
        </p:txBody>
      </p: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0EB65A2A-7D70-73DC-3937-1C400A8AE16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747230" y="6124838"/>
            <a:ext cx="0" cy="42336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Flowchart: Alternate Process 389">
            <a:extLst>
              <a:ext uri="{FF2B5EF4-FFF2-40B4-BE49-F238E27FC236}">
                <a16:creationId xmlns:a16="http://schemas.microsoft.com/office/drawing/2014/main" id="{9C1B02B0-96D2-D240-7482-72FA3B3FDC9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2671" y="6218412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4" name="Flowchart: Alternate Process 393">
            <a:extLst>
              <a:ext uri="{FF2B5EF4-FFF2-40B4-BE49-F238E27FC236}">
                <a16:creationId xmlns:a16="http://schemas.microsoft.com/office/drawing/2014/main" id="{EA701C61-D155-B959-109E-F4C7AC1C4F1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905409" y="6218412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8" name="Flowchart: Alternate Process 397">
            <a:extLst>
              <a:ext uri="{FF2B5EF4-FFF2-40B4-BE49-F238E27FC236}">
                <a16:creationId xmlns:a16="http://schemas.microsoft.com/office/drawing/2014/main" id="{380309A8-42C1-2E39-EAEF-77CA07E8AE5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256533" y="6218412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CD9A6ADB-7F9D-E216-6F9F-4037E8403D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4"/>
            </p:custDataLst>
          </p:nvPr>
        </p:nvSpPr>
        <p:spPr bwMode="gray">
          <a:xfrm>
            <a:off x="1957826" y="5451180"/>
            <a:ext cx="2960932" cy="519650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FB2328F6-19BF-863D-BCED-B1A7FE8036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5"/>
            </p:custDataLst>
          </p:nvPr>
        </p:nvSpPr>
        <p:spPr bwMode="gray">
          <a:xfrm>
            <a:off x="5269392" y="5451180"/>
            <a:ext cx="2960932" cy="519650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F5FF0535-8BF2-3B42-80C9-123D7618A6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6"/>
            </p:custDataLst>
          </p:nvPr>
        </p:nvSpPr>
        <p:spPr bwMode="gray">
          <a:xfrm>
            <a:off x="8614708" y="5451180"/>
            <a:ext cx="2960932" cy="519650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60" name="TextBox 359">
            <a:extLst>
              <a:ext uri="{FF2B5EF4-FFF2-40B4-BE49-F238E27FC236}">
                <a16:creationId xmlns:a16="http://schemas.microsoft.com/office/drawing/2014/main" id="{FA91CE1E-1B79-0AF0-FEC7-5608CB48151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062333" y="5477768"/>
            <a:ext cx="1765596" cy="466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Shared understanding of our designs</a:t>
            </a:r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8D145831-570B-199B-7A3D-4D835103893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370136" y="5477768"/>
            <a:ext cx="1765770" cy="466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Shared understanding of our designs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5400121C-A844-CA00-205C-8FD83E0591D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715452" y="5477768"/>
            <a:ext cx="1737395" cy="466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Shared understanding of our designs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D71E9588-28A6-9DC9-7E67-BD40CC964BB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140" y="5603283"/>
            <a:ext cx="100535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Awareness</a:t>
            </a:r>
          </a:p>
        </p:txBody>
      </p: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39910CF2-195E-EB48-D3CE-5CDC5E1D088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749915" y="5456202"/>
            <a:ext cx="0" cy="50960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Flowchart: Alternate Process 390">
            <a:extLst>
              <a:ext uri="{FF2B5EF4-FFF2-40B4-BE49-F238E27FC236}">
                <a16:creationId xmlns:a16="http://schemas.microsoft.com/office/drawing/2014/main" id="{73C3E1ED-CA69-0F94-2BEB-425F47FE56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2671" y="5592895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5" name="Flowchart: Alternate Process 394">
            <a:extLst>
              <a:ext uri="{FF2B5EF4-FFF2-40B4-BE49-F238E27FC236}">
                <a16:creationId xmlns:a16="http://schemas.microsoft.com/office/drawing/2014/main" id="{680F21F2-21D5-F2B9-4188-E1A78F637F1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905409" y="5592895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9" name="Flowchart: Alternate Process 398">
            <a:extLst>
              <a:ext uri="{FF2B5EF4-FFF2-40B4-BE49-F238E27FC236}">
                <a16:creationId xmlns:a16="http://schemas.microsoft.com/office/drawing/2014/main" id="{EE274DED-43C3-D1A7-2166-3708339FE8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256533" y="5592895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D53B5D92-5CB7-1703-68FB-64FD69249B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7"/>
            </p:custDataLst>
          </p:nvPr>
        </p:nvSpPr>
        <p:spPr bwMode="gray">
          <a:xfrm>
            <a:off x="1961588" y="4576335"/>
            <a:ext cx="2960932" cy="720838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5BE3467-41EE-462C-41DD-7E5E82FEE99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062332" y="4606567"/>
            <a:ext cx="1909593" cy="660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Org, roles, accountabilities; decision rights, information flow</a:t>
            </a: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B5567D4D-9AE3-4BC8-B38C-3208C9818F5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8"/>
            </p:custDataLst>
          </p:nvPr>
        </p:nvSpPr>
        <p:spPr bwMode="gray">
          <a:xfrm>
            <a:off x="5273154" y="4576335"/>
            <a:ext cx="2960932" cy="720838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719E145D-8046-E5A7-953F-8F6E93ED270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373898" y="4606567"/>
            <a:ext cx="2173077" cy="660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Key processes &amp; initiatives; ownership &amp; measures; prioritization</a:t>
            </a: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55415F30-B8BF-0CA7-8FE3-2F36368EA4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custDataLst>
              <p:tags r:id="rId19"/>
            </p:custDataLst>
          </p:nvPr>
        </p:nvSpPr>
        <p:spPr bwMode="gray">
          <a:xfrm>
            <a:off x="8618470" y="4576335"/>
            <a:ext cx="2960932" cy="720838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None/>
            </a:pPr>
            <a:endParaRPr lang="en-US" sz="8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BB25539A-1B1F-B4E7-99DB-C8C384A402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719214" y="4606567"/>
            <a:ext cx="2078961" cy="660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spcAft>
                <a:spcPts val="100"/>
              </a:spcAft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Coherent setup for data, apps, infrastructure; ownership &amp; standards</a:t>
            </a: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520644A3-C580-384F-3F17-03A1CA65A94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139" y="4564965"/>
            <a:ext cx="100535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8CB9A91E-43EA-93F4-689B-C67FA508EC5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749915" y="4576335"/>
            <a:ext cx="0" cy="72083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Flowchart: Alternate Process 391">
            <a:extLst>
              <a:ext uri="{FF2B5EF4-FFF2-40B4-BE49-F238E27FC236}">
                <a16:creationId xmlns:a16="http://schemas.microsoft.com/office/drawing/2014/main" id="{83D173BA-9025-0615-5EBA-7ABFAE4EB10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2671" y="4818644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6" name="Flowchart: Alternate Process 395">
            <a:extLst>
              <a:ext uri="{FF2B5EF4-FFF2-40B4-BE49-F238E27FC236}">
                <a16:creationId xmlns:a16="http://schemas.microsoft.com/office/drawing/2014/main" id="{F2B816DE-3497-0122-19CA-FA045E8597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905409" y="4818644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0" name="Flowchart: Alternate Process 399">
            <a:extLst>
              <a:ext uri="{FF2B5EF4-FFF2-40B4-BE49-F238E27FC236}">
                <a16:creationId xmlns:a16="http://schemas.microsoft.com/office/drawing/2014/main" id="{791C71CC-C61C-7A22-3EAC-58DF255180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256533" y="4818644"/>
            <a:ext cx="236220" cy="236220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27" name="Group 426">
            <a:extLst>
              <a:ext uri="{FF2B5EF4-FFF2-40B4-BE49-F238E27FC236}">
                <a16:creationId xmlns:a16="http://schemas.microsoft.com/office/drawing/2014/main" id="{508587A0-B466-43AF-E49F-ABFD594E00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366394" y="289622"/>
            <a:ext cx="4272337" cy="470630"/>
            <a:chOff x="7357429" y="128257"/>
            <a:chExt cx="4272337" cy="470630"/>
          </a:xfrm>
        </p:grpSpPr>
        <p:sp>
          <p:nvSpPr>
            <p:cNvPr id="275" name="Rectangle: Rounded Corners 274">
              <a:extLst>
                <a:ext uri="{FF2B5EF4-FFF2-40B4-BE49-F238E27FC236}">
                  <a16:creationId xmlns:a16="http://schemas.microsoft.com/office/drawing/2014/main" id="{2CC15F99-426D-47B2-78BB-A7084A1A1E7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357524" y="254072"/>
              <a:ext cx="227965" cy="227965"/>
            </a:xfrm>
            <a:prstGeom prst="roundRect">
              <a:avLst/>
            </a:prstGeom>
            <a:solidFill>
              <a:srgbClr val="F59E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6" name="Rectangle: Rounded Corners 275">
              <a:extLst>
                <a:ext uri="{FF2B5EF4-FFF2-40B4-BE49-F238E27FC236}">
                  <a16:creationId xmlns:a16="http://schemas.microsoft.com/office/drawing/2014/main" id="{AF3D684F-CAA2-E66F-15E4-F508D30D55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512083" y="254072"/>
              <a:ext cx="227965" cy="22796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7" name="Rectangle: Rounded Corners 276">
              <a:extLst>
                <a:ext uri="{FF2B5EF4-FFF2-40B4-BE49-F238E27FC236}">
                  <a16:creationId xmlns:a16="http://schemas.microsoft.com/office/drawing/2014/main" id="{C29898CD-55A1-D9F9-CD60-EA06C229447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911605" y="254072"/>
              <a:ext cx="227965" cy="22796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22" name="Rectangle 421">
              <a:extLst>
                <a:ext uri="{FF2B5EF4-FFF2-40B4-BE49-F238E27FC236}">
                  <a16:creationId xmlns:a16="http://schemas.microsoft.com/office/drawing/2014/main" id="{1070B56B-5173-EA4C-A58A-B10B982538D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575176" y="128257"/>
              <a:ext cx="4000464" cy="461666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23" name="TextBox 422">
              <a:extLst>
                <a:ext uri="{FF2B5EF4-FFF2-40B4-BE49-F238E27FC236}">
                  <a16:creationId xmlns:a16="http://schemas.microsoft.com/office/drawing/2014/main" id="{B6B3739D-E46E-46A3-6681-E4B4CC3BC19C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357429" y="229555"/>
              <a:ext cx="449290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GB" sz="1200" b="1">
                  <a:latin typeface="Segoe UI" panose="020B0502040204020203" pitchFamily="34" charset="0"/>
                  <a:cs typeface="Segoe UI" panose="020B0502040204020203" pitchFamily="34" charset="0"/>
                </a:rPr>
                <a:t>Key</a:t>
              </a:r>
            </a:p>
          </p:txBody>
        </p:sp>
        <p:sp>
          <p:nvSpPr>
            <p:cNvPr id="424" name="TextBox 423">
              <a:extLst>
                <a:ext uri="{FF2B5EF4-FFF2-40B4-BE49-F238E27FC236}">
                  <a16:creationId xmlns:a16="http://schemas.microsoft.com/office/drawing/2014/main" id="{DAD52CCF-A8DF-3EFB-9939-71876E2A091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166633" y="137222"/>
              <a:ext cx="10175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/>
                <a:t>Not a major impediment</a:t>
              </a:r>
            </a:p>
          </p:txBody>
        </p:sp>
        <p:sp>
          <p:nvSpPr>
            <p:cNvPr id="425" name="TextBox 424">
              <a:extLst>
                <a:ext uri="{FF2B5EF4-FFF2-40B4-BE49-F238E27FC236}">
                  <a16:creationId xmlns:a16="http://schemas.microsoft.com/office/drawing/2014/main" id="{9B9CEF34-3347-E612-6D87-C5947C01F06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591621" y="137222"/>
              <a:ext cx="78543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/>
                <a:t>Priority 2 issues</a:t>
              </a:r>
            </a:p>
          </p:txBody>
        </p:sp>
        <p:sp>
          <p:nvSpPr>
            <p:cNvPr id="426" name="TextBox 425">
              <a:extLst>
                <a:ext uri="{FF2B5EF4-FFF2-40B4-BE49-F238E27FC236}">
                  <a16:creationId xmlns:a16="http://schemas.microsoft.com/office/drawing/2014/main" id="{6931C99C-6312-45F0-E4F0-5D5B5781E38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794174" y="137222"/>
              <a:ext cx="83559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/>
                <a:t>Priority 1 issues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B73706-E9A0-8E1C-003B-600F9748DB2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86822" y="3674980"/>
            <a:ext cx="11128916" cy="581126"/>
            <a:chOff x="486822" y="3718682"/>
            <a:chExt cx="11128916" cy="581126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2836125-F43D-5B63-2614-07EA6AB5B1D9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>
              <a:off x="576263" y="4009245"/>
              <a:ext cx="11039475" cy="0"/>
            </a:xfrm>
            <a:prstGeom prst="line">
              <a:avLst/>
            </a:prstGeom>
            <a:ln>
              <a:solidFill>
                <a:srgbClr val="F59E0B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3E4B1D9-7F15-694D-AB27-0AAFD139656B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486822" y="3718682"/>
              <a:ext cx="1923002" cy="581126"/>
              <a:chOff x="1896768" y="2611743"/>
              <a:chExt cx="1923002" cy="581126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6673ED83-54D7-44C2-0200-B605968C8B3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920933" y="2804641"/>
                <a:ext cx="1898837" cy="19533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B6998EE4-B2A0-B1F6-2B89-05A3C5ED4331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1896768" y="2611743"/>
                <a:ext cx="1772284" cy="581126"/>
                <a:chOff x="1896768" y="2611743"/>
                <a:chExt cx="1772284" cy="581126"/>
              </a:xfrm>
            </p:grpSpPr>
            <p:pic>
              <p:nvPicPr>
                <p:cNvPr id="19" name="Graphic 18">
                  <a:extLst>
                    <a:ext uri="{FF2B5EF4-FFF2-40B4-BE49-F238E27FC236}">
                      <a16:creationId xmlns:a16="http://schemas.microsoft.com/office/drawing/2014/main" id="{3FFB45F6-AB07-2967-A7C0-7DFC1F775B3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50">
                  <a:extLst>
                    <a:ext uri="{96DAC541-7B7A-43D3-8B79-37D633B846F1}">
                      <asvg:svgBlip xmlns:asvg="http://schemas.microsoft.com/office/drawing/2016/SVG/main" r:embed="rId5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96768" y="2611743"/>
                  <a:ext cx="581126" cy="581126"/>
                </a:xfrm>
                <a:prstGeom prst="rect">
                  <a:avLst/>
                </a:prstGeom>
              </p:spPr>
            </p:pic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223D17FF-B580-E448-BC19-2ADB9B705968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2517070" y="2779196"/>
                  <a:ext cx="1151982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60949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59E0B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Moving fast</a:t>
                  </a:r>
                </a:p>
              </p:txBody>
            </p:sp>
          </p:grp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6A8F97-78EF-6BCE-555D-A14C192E25C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26804" y="840136"/>
            <a:ext cx="11088934" cy="472691"/>
            <a:chOff x="526804" y="1123831"/>
            <a:chExt cx="11088934" cy="472691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BED9F1C-A5DA-2156-4054-820AC011F61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>
              <a:off x="576263" y="1360176"/>
              <a:ext cx="11039475" cy="0"/>
            </a:xfrm>
            <a:prstGeom prst="line">
              <a:avLst/>
            </a:prstGeom>
            <a:ln>
              <a:solidFill>
                <a:srgbClr val="F59E0B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DFE5D54-74D0-1908-6B9B-80E9942593D0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526804" y="1123831"/>
              <a:ext cx="1866776" cy="472691"/>
              <a:chOff x="1936750" y="2082873"/>
              <a:chExt cx="1866776" cy="472691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9ECF5A1-91A7-7DBF-951A-44285EE20A8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936750" y="2221553"/>
                <a:ext cx="1866776" cy="19533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C6F1A925-3C8B-245B-484C-227FD91BC130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1982736" y="2082873"/>
                <a:ext cx="1805035" cy="472691"/>
                <a:chOff x="2039886" y="2120009"/>
                <a:chExt cx="1805035" cy="472691"/>
              </a:xfrm>
            </p:grpSpPr>
            <p:pic>
              <p:nvPicPr>
                <p:cNvPr id="26" name="Graphic 25">
                  <a:extLst>
                    <a:ext uri="{FF2B5EF4-FFF2-40B4-BE49-F238E27FC236}">
                      <a16:creationId xmlns:a16="http://schemas.microsoft.com/office/drawing/2014/main" id="{70AE49A0-C5B4-2E84-3386-F2E896E4AF44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52">
                  <a:extLst>
                    <a:ext uri="{96DAC541-7B7A-43D3-8B79-37D633B846F1}">
                      <asvg:svgBlip xmlns:asvg="http://schemas.microsoft.com/office/drawing/2016/SVG/main" r:embed="rId5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039886" y="2120009"/>
                  <a:ext cx="472691" cy="472691"/>
                </a:xfrm>
                <a:prstGeom prst="rect">
                  <a:avLst/>
                </a:prstGeom>
              </p:spPr>
            </p:pic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810633E7-50AC-9625-82E9-8974338DDC9F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2605969" y="2233244"/>
                  <a:ext cx="1238952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60949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59E0B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Aiming high</a:t>
                  </a:r>
                </a:p>
              </p:txBody>
            </p:sp>
          </p:grpSp>
        </p:grp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C88586D-98D7-3843-B728-8FF3C0905CD7}"/>
              </a:ext>
            </a:extLst>
          </p:cNvPr>
          <p:cNvSpPr/>
          <p:nvPr/>
        </p:nvSpPr>
        <p:spPr>
          <a:xfrm>
            <a:off x="9365277" y="413335"/>
            <a:ext cx="227965" cy="227965"/>
          </a:xfrm>
          <a:prstGeom prst="roundRect">
            <a:avLst/>
          </a:prstGeom>
          <a:solidFill>
            <a:srgbClr val="F59E0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FA5BD23-6EBA-762A-1166-C7DC3F5D3C7A}"/>
              </a:ext>
            </a:extLst>
          </p:cNvPr>
          <p:cNvSpPr/>
          <p:nvPr/>
        </p:nvSpPr>
        <p:spPr>
          <a:xfrm>
            <a:off x="10519836" y="413335"/>
            <a:ext cx="227965" cy="22796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CB41841-A807-72B5-EDAA-2487999D6AC6}"/>
              </a:ext>
            </a:extLst>
          </p:cNvPr>
          <p:cNvSpPr/>
          <p:nvPr/>
        </p:nvSpPr>
        <p:spPr>
          <a:xfrm>
            <a:off x="7919358" y="413335"/>
            <a:ext cx="227965" cy="22796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996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49"/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49"/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49"/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45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343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c42bbd9-a754-4003-b794-02af6e91d531}" enabled="1" method="Standard" siteId="{80c4ffa6-7511-4bba-9f03-e5872a660c9b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64</Words>
  <Application>Microsoft Office PowerPoint</Application>
  <PresentationFormat>Widescreen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ptos Display</vt:lpstr>
      <vt:lpstr>Arial</vt:lpstr>
      <vt:lpstr>Segoe UI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mas Vonwil</dc:creator>
  <cp:lastModifiedBy>Thomas Vonwil</cp:lastModifiedBy>
  <cp:revision>1</cp:revision>
  <dcterms:created xsi:type="dcterms:W3CDTF">2026-02-13T09:24:25Z</dcterms:created>
  <dcterms:modified xsi:type="dcterms:W3CDTF">2026-02-14T19:43:19Z</dcterms:modified>
</cp:coreProperties>
</file>